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110" d="100"/>
          <a:sy n="110" d="100"/>
        </p:scale>
        <p:origin x="792" y="96"/>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0149999999999999</c:v>
                </c:pt>
                <c:pt idx="1">
                  <c:v>0.92900000000000005</c:v>
                </c:pt>
                <c:pt idx="2">
                  <c:v>1.24</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2.964</c:v>
                </c:pt>
                <c:pt idx="1">
                  <c:v>2.8149999999999999</c:v>
                </c:pt>
                <c:pt idx="2">
                  <c:v>3.1110000000000002</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1930000000000001</c:v>
                </c:pt>
                <c:pt idx="1">
                  <c:v>1.1619999999999999</c:v>
                </c:pt>
                <c:pt idx="2">
                  <c:v>1.048</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2.1640000000000001</c:v>
                </c:pt>
                <c:pt idx="1">
                  <c:v>1.427</c:v>
                </c:pt>
                <c:pt idx="2">
                  <c:v>1.6679999999999999</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8.1850000000000005</c:v>
                </c:pt>
                <c:pt idx="1">
                  <c:v>8.3520000000000003</c:v>
                </c:pt>
                <c:pt idx="2">
                  <c:v>8.7409999999999997</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2.59</c:v>
                </c:pt>
                <c:pt idx="1">
                  <c:v>2.9510000000000001</c:v>
                </c:pt>
                <c:pt idx="2">
                  <c:v>3.93</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18.111000000000001</c:v>
                </c:pt>
                <c:pt idx="1">
                  <c:v>17.635999999999999</c:v>
                </c:pt>
                <c:pt idx="2">
                  <c:v>19.738</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598A84F7-F98B-4F2E-BA06-15BF5493D73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8B900374-F6FA-4395-ACF8-481D3F9A86F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D58EA744-7D12-46D3-A777-CA66BFEFBF4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1692013B-C437-410E-A2A1-3EE987CFCE2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951C62EF-CDF9-4358-95B6-736A2C5E8D4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F759559F-ACC5-4F45-9665-DFE4D7CB246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5E3FB4F9-4989-45D3-89D7-6FECC64A6B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6515B2E9-2FA5-4D11-90FD-4D32484C63B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7F461303-CE21-40B9-8FE5-9FB0F6B461C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5B401F52-15F9-4CD4-8DCD-E5D51E4FD67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A8680053-75A0-4CDA-958A-200C7A4C59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AB82FD0E-C5BC-4E19-8CD7-381662DC2B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39DEFEC9-56C8-480E-BCF3-A175B928FFE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DF99EEFF-27E2-4E54-83CA-C57155B4BC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C2917261-DE23-4CD4-8D04-F3024FA4F54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3713F2E2-96B2-4666-ACEB-B2CA985E6C7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20F75788-2A2A-490C-AF21-361D936E881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FEE77D59-6CD9-40A5-ADB2-8582CDA55B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Verhuur en overige zakelijke diensten</c:v>
                </c:pt>
                <c:pt idx="2">
                  <c:v>Gezondheids- en welzijnszorg</c:v>
                </c:pt>
                <c:pt idx="3">
                  <c:v>Informatie en communicatie</c:v>
                </c:pt>
                <c:pt idx="4">
                  <c:v>Specialistische zakelijke diensten</c:v>
                </c:pt>
                <c:pt idx="5">
                  <c:v>Horeca</c:v>
                </c:pt>
                <c:pt idx="6">
                  <c:v>Bouwnijverheid</c:v>
                </c:pt>
                <c:pt idx="7">
                  <c:v>Vervoer en opslag</c:v>
                </c:pt>
                <c:pt idx="8">
                  <c:v>Financiële dienstverlening</c:v>
                </c:pt>
                <c:pt idx="9">
                  <c:v>Verhuur en handel van onroerend goed</c:v>
                </c:pt>
                <c:pt idx="10">
                  <c:v>Cultuur, sport en recreatie</c:v>
                </c:pt>
                <c:pt idx="11">
                  <c:v>Overige dienstverlening</c:v>
                </c:pt>
                <c:pt idx="12">
                  <c:v>Landbouw, bosbouw en visserij</c:v>
                </c:pt>
                <c:pt idx="13">
                  <c:v>Delfstoffenwinning</c:v>
                </c:pt>
                <c:pt idx="14">
                  <c:v>Waterbedrijven en afvalbeheer</c:v>
                </c:pt>
                <c:pt idx="15">
                  <c:v>Industrie</c:v>
                </c:pt>
                <c:pt idx="16">
                  <c:v>Energievoorziening</c:v>
                </c:pt>
                <c:pt idx="17">
                  <c:v>Openbaar bestuur en overheidsdiensten</c:v>
                </c:pt>
                <c:pt idx="18">
                  <c:v>Onderwijs</c:v>
                </c:pt>
              </c:strCache>
            </c:strRef>
          </c:cat>
          <c:val>
            <c:numRef>
              <c:f>Sheet1!$B$2:$B$20</c:f>
              <c:numCache>
                <c:formatCode>General</c:formatCode>
                <c:ptCount val="19"/>
                <c:pt idx="0">
                  <c:v>2.2000000000000002</c:v>
                </c:pt>
                <c:pt idx="1">
                  <c:v>1.6</c:v>
                </c:pt>
                <c:pt idx="2">
                  <c:v>0.9</c:v>
                </c:pt>
                <c:pt idx="3">
                  <c:v>0.5</c:v>
                </c:pt>
                <c:pt idx="4">
                  <c:v>0.5</c:v>
                </c:pt>
                <c:pt idx="5">
                  <c:v>0.4</c:v>
                </c:pt>
                <c:pt idx="6">
                  <c:v>0.3</c:v>
                </c:pt>
                <c:pt idx="7">
                  <c:v>0.2</c:v>
                </c:pt>
                <c:pt idx="8">
                  <c:v>0.2</c:v>
                </c:pt>
                <c:pt idx="9">
                  <c:v>0.2</c:v>
                </c:pt>
                <c:pt idx="10">
                  <c:v>0.1</c:v>
                </c:pt>
                <c:pt idx="11">
                  <c:v>0.1</c:v>
                </c:pt>
                <c:pt idx="12">
                  <c:v>0</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2,2</c:v>
                  </c:pt>
                  <c:pt idx="1">
                    <c:v>1,6</c:v>
                  </c:pt>
                  <c:pt idx="2">
                    <c:v>0,9</c:v>
                  </c:pt>
                  <c:pt idx="3">
                    <c:v>0,5</c:v>
                  </c:pt>
                  <c:pt idx="4">
                    <c:v>0,5</c:v>
                  </c:pt>
                  <c:pt idx="5">
                    <c:v>0,4</c:v>
                  </c:pt>
                  <c:pt idx="6">
                    <c:v>0,3</c:v>
                  </c:pt>
                  <c:pt idx="7">
                    <c:v>0,2</c:v>
                  </c:pt>
                  <c:pt idx="8">
                    <c:v>0,2</c:v>
                  </c:pt>
                  <c:pt idx="9">
                    <c:v>0,2</c:v>
                  </c:pt>
                  <c:pt idx="10">
                    <c:v>0,1</c:v>
                  </c:pt>
                  <c:pt idx="11">
                    <c:v>0,1</c:v>
                  </c:pt>
                  <c:pt idx="12">
                    <c:v>0</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E96B74B6-FD64-435E-AC0A-161CC32B52E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EB111CFA-16C6-4D22-B58A-6CF036D9782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305792D5-F64E-4E37-9B27-EAF87AAECF6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F355BA65-2835-46EA-9728-834B0CE9CD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F3769CE2-38C0-4C98-835C-DC895CF21D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E4C0C3E1-7CDA-4DD8-B880-3173DE2DC7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F39E9998-C0C5-41F3-B5D2-F5E4CA1D6D1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4290DC6F-B257-4212-8E04-017EDD7F1B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C77AAF30-E85A-4F7E-8328-6C514DE555D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0B627827-6393-43B0-9627-3F0D5249E6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E6AEC998-8845-494A-B356-FA9C616990F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54BD5C18-DE24-4A83-A7A4-CE1D9C74ECA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457E90AB-11B0-4DE4-9C48-AE837495B20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0D10BE37-1C3C-4954-A876-658F6C77A4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54814444-8057-436A-9346-26CA828C7C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EA43BEFF-764A-447D-8056-1C178EAED38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84553AD1-8A81-4D99-B18E-8DBDA2420AC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0B84BC51-FB89-48A9-97D3-DB152267209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9.9999999999999645E-2</c:v>
                </c:pt>
                <c:pt idx="1">
                  <c:v>0.40000000000000013</c:v>
                </c:pt>
                <c:pt idx="2">
                  <c:v>-9.9999999999999978E-2</c:v>
                </c:pt>
                <c:pt idx="3">
                  <c:v>9.9999999999999978E-2</c:v>
                </c:pt>
                <c:pt idx="4">
                  <c:v>-9.9999999999999978E-2</c:v>
                </c:pt>
                <c:pt idx="5">
                  <c:v>0.10000000000000003</c:v>
                </c:pt>
                <c:pt idx="6">
                  <c:v>9.9999999999999978E-2</c:v>
                </c:pt>
                <c:pt idx="7">
                  <c:v>-0.2</c:v>
                </c:pt>
                <c:pt idx="8">
                  <c:v>-0.3</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1</c:v>
                  </c:pt>
                  <c:pt idx="1">
                    <c:v>0,4</c:v>
                  </c:pt>
                  <c:pt idx="2">
                    <c:v>-0,1</c:v>
                  </c:pt>
                  <c:pt idx="3">
                    <c:v>0,1</c:v>
                  </c:pt>
                  <c:pt idx="4">
                    <c:v>-0,1</c:v>
                  </c:pt>
                  <c:pt idx="5">
                    <c:v>0,1</c:v>
                  </c:pt>
                  <c:pt idx="6">
                    <c:v>0,1</c:v>
                  </c:pt>
                  <c:pt idx="7">
                    <c:v>-0,2</c:v>
                  </c:pt>
                  <c:pt idx="8">
                    <c:v>-0,3</c:v>
                  </c:pt>
                  <c:pt idx="9">
                    <c:v>0</c:v>
                  </c:pt>
                  <c:pt idx="10">
                    <c:v>0</c:v>
                  </c:pt>
                  <c:pt idx="11">
                    <c:v>0</c:v>
                  </c:pt>
                  <c:pt idx="12">
                    <c:v>0</c:v>
                  </c:pt>
                  <c:pt idx="13">
                    <c:v>0</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5A485305-D6C7-44D8-8993-2B5D1C2C704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2FEC2A2B-ADB5-4525-A84F-FF0180F7E9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B096C3D3-6BF8-41E5-B6A1-69358B314C7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60F3EBB2-0558-4BDC-BACD-59DD2FD8E5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4C5826D8-F3B7-4E02-86FF-2B2E6D19A46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0F5E0E83-FBDA-4925-BB11-3F75316F513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CDACE144-91E1-4DBE-854D-3D1451BDF7B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9DEE8DAA-8F22-4B9C-8F91-3605C59693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CE645A70-3984-49F7-A5F5-BDFD92CC45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292DD91F-D7D1-4A13-B26F-C11DD1033BC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756BDEAC-70B8-43CF-ADB7-EFF598C5222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B187F9DC-CB66-4C5D-85B7-B7555C5FDC3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0D8FB02C-218B-4C26-AD49-F42D835FC6C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CBDEEECD-9593-4735-A59B-BC7CE38D4B1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4FC7815D-5916-42FC-A2A1-B44E1B7363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997BD1E4-0CD7-45F6-AA6C-24CCC77C45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548A1F3E-1281-418E-B0F9-300A58AB23F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58430F07-C446-457D-A6BC-46DABE3998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83905808155924833</c:v>
                </c:pt>
                <c:pt idx="1">
                  <c:v>0.73823252884218382</c:v>
                </c:pt>
                <c:pt idx="2">
                  <c:v>-0.24712872387585416</c:v>
                </c:pt>
                <c:pt idx="3">
                  <c:v>1.081496935798413</c:v>
                </c:pt>
                <c:pt idx="4">
                  <c:v>0.10951012479288336</c:v>
                </c:pt>
                <c:pt idx="5">
                  <c:v>9.178241480996685E-2</c:v>
                </c:pt>
                <c:pt idx="6">
                  <c:v>7.1770778000048496E-2</c:v>
                </c:pt>
                <c:pt idx="7">
                  <c:v>-0.39815183511614594</c:v>
                </c:pt>
                <c:pt idx="8">
                  <c:v>-0.11602152436575919</c:v>
                </c:pt>
                <c:pt idx="9">
                  <c:v>2.4612839875634753</c:v>
                </c:pt>
                <c:pt idx="10">
                  <c:v>-0.16212047235514182</c:v>
                </c:pt>
                <c:pt idx="11">
                  <c:v>-0.12319244120350004</c:v>
                </c:pt>
                <c:pt idx="12">
                  <c:v>-1</c:v>
                </c:pt>
                <c:pt idx="13">
                  <c:v>-1</c:v>
                </c:pt>
                <c:pt idx="14">
                  <c:v>-1</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84%</c:v>
                  </c:pt>
                  <c:pt idx="1">
                    <c:v>+74%</c:v>
                  </c:pt>
                  <c:pt idx="2">
                    <c:v>-25%</c:v>
                  </c:pt>
                  <c:pt idx="3">
                    <c:v>+108%</c:v>
                  </c:pt>
                  <c:pt idx="4">
                    <c:v>+11%</c:v>
                  </c:pt>
                  <c:pt idx="5">
                    <c:v>+9%</c:v>
                  </c:pt>
                  <c:pt idx="6">
                    <c:v>+7%</c:v>
                  </c:pt>
                  <c:pt idx="7">
                    <c:v>-40%</c:v>
                  </c:pt>
                  <c:pt idx="8">
                    <c:v>-12%</c:v>
                  </c:pt>
                  <c:pt idx="9">
                    <c:v>+246%</c:v>
                  </c:pt>
                  <c:pt idx="10">
                    <c:v>-16%</c:v>
                  </c:pt>
                  <c:pt idx="11">
                    <c:v>-12%</c:v>
                  </c:pt>
                  <c:pt idx="12">
                    <c:v>-100%</c:v>
                  </c:pt>
                  <c:pt idx="13">
                    <c:v>-100%</c:v>
                  </c:pt>
                  <c:pt idx="14">
                    <c:v>-10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428571428571429</c:v>
                </c:pt>
                <c:pt idx="1">
                  <c:v>0.6428571428571429</c:v>
                </c:pt>
                <c:pt idx="2">
                  <c:v>0.7142857142857143</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7.0000000000000007E-2</c:v>
                </c:pt>
                <c:pt idx="1">
                  <c:v>5.5E-2</c:v>
                </c:pt>
                <c:pt idx="2">
                  <c:v>3.0999999046325683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11479646780099</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8621563550217618</c:v>
                </c:pt>
                <c:pt idx="1">
                  <c:v>0.1911479646780099</c:v>
                </c:pt>
                <c:pt idx="2">
                  <c:v>0.18723492293369196</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11479646780099</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0218169797807284E-2</c:v>
                </c:pt>
                <c:pt idx="1">
                  <c:v>3.9306482877449922E-2</c:v>
                </c:pt>
                <c:pt idx="2">
                  <c:v>3.4653977449053484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11479646780099</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2.0935485648173654E-2</c:v>
                </c:pt>
                <c:pt idx="1">
                  <c:v>2.6383803575274607E-2</c:v>
                </c:pt>
                <c:pt idx="2">
                  <c:v>2.2757835936691839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11479646780099</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8</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9</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18</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5</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94017857142857153</c:v>
                </c:pt>
                <c:pt idx="2">
                  <c:v>0.94017857142857153</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158857142857143</c:v>
                </c:pt>
                <c:pt idx="4" formatCode="0.0%">
                  <c:v>1.158857142857143</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1142857142857145</c:v>
                </c:pt>
                <c:pt idx="6" formatCode="0.0%">
                  <c:v>1.1142857142857145</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2628571428571431</c:v>
                </c:pt>
                <c:pt idx="8" formatCode="0.0%">
                  <c:v>1.2628571428571431</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1.316883116883117</c:v>
                </c:pt>
                <c:pt idx="10" formatCode="0.0%">
                  <c:v>1.316883116883117</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87412587412587417</c:v>
                </c:pt>
                <c:pt idx="26">
                  <c:v>0.87412587412587417</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57692307692307687</c:v>
                </c:pt>
                <c:pt idx="28">
                  <c:v>0.57692307692307687</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71070234113712372</c:v>
                </c:pt>
                <c:pt idx="30">
                  <c:v>0.7107023411371237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92455621301775137</c:v>
                </c:pt>
                <c:pt idx="32">
                  <c:v>0.92455621301775137</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4423076923076923</c:v>
                </c:pt>
                <c:pt idx="34">
                  <c:v>1.4423076923076923</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0620689655172415</c:v>
                </c:pt>
                <c:pt idx="38">
                  <c:v>1.0620689655172415</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81306715063520885</c:v>
                </c:pt>
                <c:pt idx="40">
                  <c:v>0.81306715063520885</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82068965517241399</c:v>
                </c:pt>
                <c:pt idx="42">
                  <c:v>0.82068965517241399</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88155922038980528</c:v>
                </c:pt>
                <c:pt idx="44">
                  <c:v>0.8815592203898052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2413793103448274</c:v>
                </c:pt>
                <c:pt idx="46">
                  <c:v>1.2413793103448274</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0149999999999999</c:v>
                </c:pt>
                <c:pt idx="1">
                  <c:v>0.92900000000000005</c:v>
                </c:pt>
                <c:pt idx="2">
                  <c:v>1.24</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2.964</c:v>
                </c:pt>
                <c:pt idx="1">
                  <c:v>2.8149999999999999</c:v>
                </c:pt>
                <c:pt idx="2">
                  <c:v>3.1110000000000002</c:v>
                </c:pt>
                <c:pt idx="3">
                  <c:v>4.6999998092651367</c:v>
                </c:pt>
                <c:pt idx="4">
                  <c:v>5.1999998092651367</c:v>
                </c:pt>
                <c:pt idx="5">
                  <c:v>5.4000000953674316</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1930000000000001</c:v>
                </c:pt>
                <c:pt idx="1">
                  <c:v>1.1619999999999999</c:v>
                </c:pt>
                <c:pt idx="2">
                  <c:v>1.048</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2.1640000000000001</c:v>
                </c:pt>
                <c:pt idx="1">
                  <c:v>1.427</c:v>
                </c:pt>
                <c:pt idx="2">
                  <c:v>1.6679999999999999</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8.1850000000000005</c:v>
                </c:pt>
                <c:pt idx="1">
                  <c:v>8.3520000000000003</c:v>
                </c:pt>
                <c:pt idx="2">
                  <c:v>8.7409999999999997</c:v>
                </c:pt>
                <c:pt idx="3">
                  <c:v>12.100000381469727</c:v>
                </c:pt>
                <c:pt idx="4">
                  <c:v>12.199999809265137</c:v>
                </c:pt>
                <c:pt idx="5">
                  <c:v>12.69999980926513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2.59</c:v>
                </c:pt>
                <c:pt idx="1">
                  <c:v>2.9510000000000001</c:v>
                </c:pt>
                <c:pt idx="2">
                  <c:v>3.93</c:v>
                </c:pt>
                <c:pt idx="3">
                  <c:v>5.3000001907348633</c:v>
                </c:pt>
                <c:pt idx="4">
                  <c:v>6.5</c:v>
                </c:pt>
                <c:pt idx="5">
                  <c:v>7</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18.111000000000001</c:v>
                </c:pt>
                <c:pt idx="1">
                  <c:v>17.635999999999999</c:v>
                </c:pt>
                <c:pt idx="2">
                  <c:v>19.738</c:v>
                </c:pt>
                <c:pt idx="3">
                  <c:v>22.100000381469727</c:v>
                </c:pt>
                <c:pt idx="4">
                  <c:v>23.899999618530273</c:v>
                </c:pt>
                <c:pt idx="5">
                  <c:v>25.099999904632568</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5268022181146026</c:v>
                </c:pt>
                <c:pt idx="1">
                  <c:v>0.32858540828531041</c:v>
                </c:pt>
                <c:pt idx="2">
                  <c:v>0.11395020115254974</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423000</c:v>
                </c:pt>
                <c:pt idx="1">
                  <c:v>297000</c:v>
                </c:pt>
                <c:pt idx="2">
                  <c:v>75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205</c:v>
                </c:pt>
                <c:pt idx="1">
                  <c:v>395</c:v>
                </c:pt>
                <c:pt idx="2">
                  <c:v>850</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7.6999999999999999E-2</c:v>
                </c:pt>
                <c:pt idx="1">
                  <c:v>1.2E-2</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255</c:v>
                </c:pt>
                <c:pt idx="1">
                  <c:v>255</c:v>
                </c:pt>
                <c:pt idx="2">
                  <c:v>265</c:v>
                </c:pt>
                <c:pt idx="3">
                  <c:v>285</c:v>
                </c:pt>
                <c:pt idx="4">
                  <c:v>305</c:v>
                </c:pt>
                <c:pt idx="5">
                  <c:v>330</c:v>
                </c:pt>
                <c:pt idx="6">
                  <c:v>30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25</c:v>
                </c:pt>
                <c:pt idx="1">
                  <c:v>25</c:v>
                </c:pt>
                <c:pt idx="2">
                  <c:v>30</c:v>
                </c:pt>
                <c:pt idx="3">
                  <c:v>35</c:v>
                </c:pt>
                <c:pt idx="4">
                  <c:v>35</c:v>
                </c:pt>
                <c:pt idx="5">
                  <c:v>35</c:v>
                </c:pt>
                <c:pt idx="6">
                  <c:v>3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B$2:$B$3</c:f>
              <c:numCache>
                <c:formatCode>0%</c:formatCode>
                <c:ptCount val="2"/>
                <c:pt idx="0">
                  <c:v>0.17486338797814208</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C$2:$C$3</c:f>
              <c:numCache>
                <c:formatCode>0%</c:formatCode>
                <c:ptCount val="2"/>
                <c:pt idx="0">
                  <c:v>0.20765027322404372</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D$2:$D$3</c:f>
              <c:numCache>
                <c:formatCode>0%</c:formatCode>
                <c:ptCount val="2"/>
                <c:pt idx="0">
                  <c:v>0.37158469945355194</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E$2:$E$3</c:f>
              <c:numCache>
                <c:formatCode>0%</c:formatCode>
                <c:ptCount val="2"/>
                <c:pt idx="0">
                  <c:v>0.24590163934426229</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4474094610985961</c:v>
                </c:pt>
                <c:pt idx="1">
                  <c:v>0.38</c:v>
                </c:pt>
                <c:pt idx="2">
                  <c:v>0.42519686428876358</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B$2:$B$3</c:f>
              <c:numCache>
                <c:formatCode>0.0%</c:formatCode>
                <c:ptCount val="2"/>
                <c:pt idx="0">
                  <c:v>0.5104116222760291</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C$2:$C$3</c:f>
              <c:numCache>
                <c:formatCode>0.0%</c:formatCode>
                <c:ptCount val="2"/>
                <c:pt idx="0">
                  <c:v>0.19273607748184018</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D$2:$D$3</c:f>
              <c:numCache>
                <c:formatCode>0.0%</c:formatCode>
                <c:ptCount val="2"/>
                <c:pt idx="0">
                  <c:v>0.20048426150121065</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E$2:$E$3</c:f>
              <c:numCache>
                <c:formatCode>0.0%</c:formatCode>
                <c:ptCount val="2"/>
                <c:pt idx="0">
                  <c:v>9.6368038740920092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BBE37B0C-D22E-4AA4-BB7C-F2EA770782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4321565A-FBD7-407B-92CC-B554D66E8457}"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A806EE46-C6CE-4DF1-81A0-68B7FDBD087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3481B048-2EF7-4D21-9FB4-DC1C22A0E691}"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243DC922-AE93-4E61-BC72-9173B5C8CFA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B4C10EBB-D6D7-4380-9937-435F95A879A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Bedrog</c:v>
                </c:pt>
                <c:pt idx="4">
                  <c:v>Gewelds- en 
seksuele misdrijven</c:v>
                </c:pt>
                <c:pt idx="5">
                  <c:v>Valsheidsmisdrijven</c:v>
                </c:pt>
                <c:pt idx="6">
                  <c:v>Overig</c:v>
                </c:pt>
              </c:strCache>
            </c:strRef>
          </c:cat>
          <c:val>
            <c:numRef>
              <c:f>Sheet1!$B$2:$B$8</c:f>
              <c:numCache>
                <c:formatCode>#,##0</c:formatCode>
                <c:ptCount val="7"/>
                <c:pt idx="0">
                  <c:v>345</c:v>
                </c:pt>
                <c:pt idx="1">
                  <c:v>105</c:v>
                </c:pt>
                <c:pt idx="2">
                  <c:v>80</c:v>
                </c:pt>
                <c:pt idx="3">
                  <c:v>55</c:v>
                </c:pt>
                <c:pt idx="4">
                  <c:v>40</c:v>
                </c:pt>
                <c:pt idx="5">
                  <c:v>35</c:v>
                </c:pt>
                <c:pt idx="6">
                  <c:v>15</c:v>
                </c:pt>
              </c:numCache>
            </c:numRef>
          </c:val>
          <c:extLst>
            <c:ext xmlns:c15="http://schemas.microsoft.com/office/drawing/2012/chart" uri="{02D57815-91ED-43cb-92C2-25804820EDAC}">
              <c15:datalabelsRange>
                <c15:f>Sheet1!$B$2:$B$20</c15:f>
                <c15:dlblRangeCache>
                  <c:ptCount val="19"/>
                  <c:pt idx="0">
                    <c:v>345</c:v>
                  </c:pt>
                  <c:pt idx="1">
                    <c:v>105</c:v>
                  </c:pt>
                  <c:pt idx="2">
                    <c:v>80</c:v>
                  </c:pt>
                  <c:pt idx="3">
                    <c:v>55</c:v>
                  </c:pt>
                  <c:pt idx="4">
                    <c:v>40</c:v>
                  </c:pt>
                  <c:pt idx="5">
                    <c:v>35</c:v>
                  </c:pt>
                  <c:pt idx="6">
                    <c:v>1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74BD540-EA8C-4803-A573-29C3F1830EE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C24EB76-D2D6-41CE-AA66-5D1C2DAB2294}"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BC9DB31-DE2F-4D52-A4F6-E8C1F3545568}"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63F9F8DA-BB3F-46C4-919F-C52061BAEC4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A0948585-49BC-40F4-BA02-21FC215B2DC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6B6E33DA-ABE5-42F7-A2CE-6EC12C827E54}"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17578954182288156</c:v>
                </c:pt>
                <c:pt idx="1">
                  <c:v>-0.23962582129272247</c:v>
                </c:pt>
                <c:pt idx="2">
                  <c:v>-0.29926572502754267</c:v>
                </c:pt>
                <c:pt idx="3">
                  <c:v>-8.0720292199967167E-2</c:v>
                </c:pt>
                <c:pt idx="4">
                  <c:v>-0.57033027242120249</c:v>
                </c:pt>
                <c:pt idx="5">
                  <c:v>-0.13228135950878009</c:v>
                </c:pt>
                <c:pt idx="6">
                  <c:v>-0.70200883670016412</c:v>
                </c:pt>
              </c:numCache>
            </c:numRef>
          </c:val>
          <c:extLst>
            <c:ext xmlns:c15="http://schemas.microsoft.com/office/drawing/2012/chart" uri="{02D57815-91ED-43cb-92C2-25804820EDAC}">
              <c15:datalabelsRange>
                <c15:f>Sheet1!$B$2:$B$35</c15:f>
                <c15:dlblRangeCache>
                  <c:ptCount val="34"/>
                  <c:pt idx="0">
                    <c:v>-18%</c:v>
                  </c:pt>
                  <c:pt idx="1">
                    <c:v>-24%</c:v>
                  </c:pt>
                  <c:pt idx="2">
                    <c:v>-30%</c:v>
                  </c:pt>
                  <c:pt idx="3">
                    <c:v>-8%</c:v>
                  </c:pt>
                  <c:pt idx="4">
                    <c:v>-57%</c:v>
                  </c:pt>
                  <c:pt idx="5">
                    <c:v>-13%</c:v>
                  </c:pt>
                  <c:pt idx="6">
                    <c:v>-70%</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2E7220C0-E859-456C-987F-2E7BC3AACB2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973D6464-07CA-4848-A6E8-FDF826CD52D3}"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1D6E656C-D23D-4FB5-8A75-62DCACF7F56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AB0679EC-2A05-4AD0-9A9A-C7B6D632FC1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31B280A5-DE99-4658-8F8E-5F744E7EE6CE}"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5493916337634825</c:v>
                </c:pt>
                <c:pt idx="1">
                  <c:v>-0.11972453548578202</c:v>
                </c:pt>
                <c:pt idx="2">
                  <c:v>-6.0779560670309048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3227025760785824</c:v>
                </c:pt>
                <c:pt idx="1">
                  <c:v>0.11890789844278943</c:v>
                </c:pt>
                <c:pt idx="2">
                  <c:v>0.18616782531706416</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B2CA9614-720A-47E3-AABF-E2F47CCEAA4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62F219CE-7282-47C2-8FD0-5D5506FC7036}"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51629469-0D4A-4FF3-8962-13788E7C93A6}"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0B532541-8CF2-4333-9A7C-87F4B05B0FE1}"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A6C1F05E-1F7F-44E6-8720-AC3573E1C26A}"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6689589878659483</c:v>
                </c:pt>
                <c:pt idx="1">
                  <c:v>4.6251038879485451E-2</c:v>
                </c:pt>
                <c:pt idx="2">
                  <c:v>-6.0779560670309048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8303479526194147</c:v>
                </c:pt>
                <c:pt idx="1">
                  <c:v>-2.1909572359512502E-2</c:v>
                </c:pt>
                <c:pt idx="2">
                  <c:v>0.18616782531706416</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29285439137134051</c:v>
                </c:pt>
                <c:pt idx="1">
                  <c:v>0.10342835130970725</c:v>
                </c:pt>
                <c:pt idx="2">
                  <c:v>8.6671802773497689E-2</c:v>
                </c:pt>
                <c:pt idx="3">
                  <c:v>5.9033127889060094E-2</c:v>
                </c:pt>
                <c:pt idx="4">
                  <c:v>7.6560092449922956E-2</c:v>
                </c:pt>
                <c:pt idx="5">
                  <c:v>0.27571263482280434</c:v>
                </c:pt>
                <c:pt idx="6">
                  <c:v>3.052773497688752E-2</c:v>
                </c:pt>
                <c:pt idx="7">
                  <c:v>0</c:v>
                </c:pt>
                <c:pt idx="8">
                  <c:v>2.137904468412943E-2</c:v>
                </c:pt>
                <c:pt idx="9">
                  <c:v>1.078582434514638E-2</c:v>
                </c:pt>
                <c:pt idx="10">
                  <c:v>0</c:v>
                </c:pt>
                <c:pt idx="11">
                  <c:v>0</c:v>
                </c:pt>
                <c:pt idx="12">
                  <c:v>4.1409861325115566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2968855788761003</c:v>
                </c:pt>
                <c:pt idx="1">
                  <c:v>0.15538253215978334</c:v>
                </c:pt>
                <c:pt idx="2">
                  <c:v>0.10248815165876778</c:v>
                </c:pt>
                <c:pt idx="3">
                  <c:v>9.4702098849018285E-2</c:v>
                </c:pt>
                <c:pt idx="4">
                  <c:v>6.9989844278943808E-2</c:v>
                </c:pt>
                <c:pt idx="5">
                  <c:v>6.7874069058903183E-2</c:v>
                </c:pt>
                <c:pt idx="6">
                  <c:v>0.11907582938388625</c:v>
                </c:pt>
                <c:pt idx="7">
                  <c:v>1.4895057549085985E-2</c:v>
                </c:pt>
                <c:pt idx="8">
                  <c:v>3.7999322951929586E-2</c:v>
                </c:pt>
                <c:pt idx="9">
                  <c:v>1.481042654028436E-2</c:v>
                </c:pt>
                <c:pt idx="10">
                  <c:v>0</c:v>
                </c:pt>
                <c:pt idx="11">
                  <c:v>0</c:v>
                </c:pt>
                <c:pt idx="12">
                  <c:v>4.062288422477996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3167251080486015</c:v>
                </c:pt>
                <c:pt idx="1">
                  <c:v>0.20859496045013456</c:v>
                </c:pt>
                <c:pt idx="2">
                  <c:v>7.5674794096061329E-2</c:v>
                </c:pt>
                <c:pt idx="3">
                  <c:v>7.1189757808040446E-2</c:v>
                </c:pt>
                <c:pt idx="4">
                  <c:v>5.2026420941042158E-2</c:v>
                </c:pt>
                <c:pt idx="5">
                  <c:v>6.3035146375275214E-2</c:v>
                </c:pt>
                <c:pt idx="6">
                  <c:v>6.4829160890483573E-2</c:v>
                </c:pt>
                <c:pt idx="7">
                  <c:v>3.204762293076735E-2</c:v>
                </c:pt>
                <c:pt idx="8">
                  <c:v>4.966158362554024E-2</c:v>
                </c:pt>
                <c:pt idx="9">
                  <c:v>1.4759846693305064E-2</c:v>
                </c:pt>
                <c:pt idx="10">
                  <c:v>3.3189268531354482E-2</c:v>
                </c:pt>
                <c:pt idx="11">
                  <c:v>2.1528174182500203E-2</c:v>
                </c:pt>
                <c:pt idx="12">
                  <c:v>3.0172062301231347E-3</c:v>
                </c:pt>
                <c:pt idx="13">
                  <c:v>3.3760091331648048E-2</c:v>
                </c:pt>
                <c:pt idx="14">
                  <c:v>8.2361575470928806E-3</c:v>
                </c:pt>
                <c:pt idx="15">
                  <c:v>6.1975046889015742E-3</c:v>
                </c:pt>
                <c:pt idx="16">
                  <c:v>8.5623420044034903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3</c:v>
                </c:pt>
                <c:pt idx="3">
                  <c:v>2</c:v>
                </c:pt>
                <c:pt idx="4">
                  <c:v>3</c:v>
                </c:pt>
                <c:pt idx="5">
                  <c:v>0</c:v>
                </c:pt>
                <c:pt idx="6">
                  <c:v>2</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Weesper Stads Partij (WSP)</c:v>
                </c:pt>
              </c:strCache>
            </c:str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Weesper Stads Partij (WSP)</c:v>
                </c:pt>
              </c:strCache>
            </c:str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1"/>
                <c:pt idx="0">
                  <c:v>Weesper Stads Partij (WSP)</c:v>
                </c:pt>
              </c:strCache>
            </c:strRef>
          </c:cat>
          <c:val>
            <c:numRef>
              <c:f>Sheet1!$D$2:$D$9</c:f>
              <c:numCache>
                <c:formatCode>0</c:formatCode>
                <c:ptCount val="8"/>
                <c:pt idx="0">
                  <c:v>5</c:v>
                </c:pt>
              </c:numCache>
            </c:numRef>
          </c:val>
          <c:extLst>
            <c:ext xmlns:c15="http://schemas.microsoft.com/office/drawing/2012/chart" uri="{02D57815-91ED-43cb-92C2-25804820EDAC}">
              <c15:datalabelsRange>
                <c15:f>Sheet1!$D$2:$D$7</c15:f>
                <c15:dlblRangeCache>
                  <c:ptCount val="6"/>
                  <c:pt idx="0">
                    <c:v>5</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B$2:$B$3</c:f>
              <c:numCache>
                <c:formatCode>0%</c:formatCode>
                <c:ptCount val="2"/>
                <c:pt idx="0">
                  <c:v>0.70868644067796616</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C$2:$C$3</c:f>
              <c:numCache>
                <c:formatCode>0%</c:formatCode>
                <c:ptCount val="2"/>
                <c:pt idx="0">
                  <c:v>0.28707627118644069</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esp</c:v>
                </c:pt>
                <c:pt idx="1">
                  <c:v>Nederland</c:v>
                </c:pt>
              </c:strCache>
            </c:strRef>
          </c:cat>
          <c:val>
            <c:numRef>
              <c:f>Sheet1!$E$2:$E$3</c:f>
              <c:numCache>
                <c:formatCode>0%</c:formatCode>
                <c:ptCount val="2"/>
                <c:pt idx="0">
                  <c:v>4.2372881355932203E-3</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2439785132559342</c:v>
                </c:pt>
                <c:pt idx="1">
                  <c:v>0.34299999999999997</c:v>
                </c:pt>
                <c:pt idx="2">
                  <c:v>0.5511811106401145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118111064011455</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Gooise Meren</c:v>
                </c:pt>
                <c:pt idx="2">
                  <c:v>Almere</c:v>
                </c:pt>
                <c:pt idx="3">
                  <c:v>Hilversum</c:v>
                </c:pt>
                <c:pt idx="4">
                  <c:v>Wijdemeren</c:v>
                </c:pt>
                <c:pt idx="5">
                  <c:v>Utrecht</c:v>
                </c:pt>
                <c:pt idx="6">
                  <c:v>Huizen</c:v>
                </c:pt>
                <c:pt idx="7">
                  <c:v>Stichtse Vecht</c:v>
                </c:pt>
                <c:pt idx="8">
                  <c:v>s-Gravenhage</c:v>
                </c:pt>
                <c:pt idx="9">
                  <c:v>Zaanstad</c:v>
                </c:pt>
              </c:strCache>
            </c:strRef>
          </c:cat>
          <c:val>
            <c:numRef>
              <c:f>Sheet1!$B$2:$B$11</c:f>
              <c:numCache>
                <c:formatCode>General</c:formatCode>
                <c:ptCount val="10"/>
                <c:pt idx="0">
                  <c:v>184</c:v>
                </c:pt>
                <c:pt idx="1">
                  <c:v>115</c:v>
                </c:pt>
                <c:pt idx="2">
                  <c:v>104</c:v>
                </c:pt>
                <c:pt idx="3">
                  <c:v>75</c:v>
                </c:pt>
                <c:pt idx="4">
                  <c:v>54</c:v>
                </c:pt>
                <c:pt idx="5">
                  <c:v>33</c:v>
                </c:pt>
                <c:pt idx="6">
                  <c:v>24</c:v>
                </c:pt>
                <c:pt idx="7">
                  <c:v>24</c:v>
                </c:pt>
                <c:pt idx="8">
                  <c:v>21</c:v>
                </c:pt>
                <c:pt idx="9">
                  <c:v>2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Amsterdam</c:v>
                </c:pt>
                <c:pt idx="1">
                  <c:v>Gooise Meren</c:v>
                </c:pt>
                <c:pt idx="2">
                  <c:v>Almere</c:v>
                </c:pt>
                <c:pt idx="3">
                  <c:v>Hilversum</c:v>
                </c:pt>
                <c:pt idx="4">
                  <c:v>Wijdemeren</c:v>
                </c:pt>
                <c:pt idx="5">
                  <c:v>Utrecht</c:v>
                </c:pt>
                <c:pt idx="6">
                  <c:v>Huizen</c:v>
                </c:pt>
                <c:pt idx="7">
                  <c:v>Stichtse Vecht</c:v>
                </c:pt>
                <c:pt idx="8">
                  <c:v>s-Gravenhage</c:v>
                </c:pt>
                <c:pt idx="9">
                  <c:v>Zaanstad</c:v>
                </c:pt>
              </c:strCache>
            </c:strRef>
          </c:cat>
          <c:val>
            <c:numRef>
              <c:f>Sheet1!$C$2:$C$11</c:f>
              <c:numCache>
                <c:formatCode>General</c:formatCode>
                <c:ptCount val="10"/>
                <c:pt idx="0">
                  <c:v>574</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Gooise Meren</c:v>
                </c:pt>
                <c:pt idx="2">
                  <c:v>Almere</c:v>
                </c:pt>
                <c:pt idx="3">
                  <c:v>Hilversum</c:v>
                </c:pt>
                <c:pt idx="4">
                  <c:v>Amstelveen</c:v>
                </c:pt>
                <c:pt idx="5">
                  <c:v>Diemen</c:v>
                </c:pt>
                <c:pt idx="6">
                  <c:v>Utrecht</c:v>
                </c:pt>
                <c:pt idx="7">
                  <c:v>De Ronde Venen</c:v>
                </c:pt>
                <c:pt idx="8">
                  <c:v>Huizen</c:v>
                </c:pt>
                <c:pt idx="9">
                  <c:v>Haarlem</c:v>
                </c:pt>
              </c:strCache>
            </c:strRef>
          </c:cat>
          <c:val>
            <c:numRef>
              <c:f>Sheet1!$B$2:$B$11</c:f>
              <c:numCache>
                <c:formatCode>General</c:formatCode>
                <c:ptCount val="10"/>
                <c:pt idx="0">
                  <c:v>758</c:v>
                </c:pt>
                <c:pt idx="1">
                  <c:v>71</c:v>
                </c:pt>
                <c:pt idx="2">
                  <c:v>67</c:v>
                </c:pt>
                <c:pt idx="3">
                  <c:v>44</c:v>
                </c:pt>
                <c:pt idx="4">
                  <c:v>41</c:v>
                </c:pt>
                <c:pt idx="5">
                  <c:v>38</c:v>
                </c:pt>
                <c:pt idx="6">
                  <c:v>25</c:v>
                </c:pt>
                <c:pt idx="7">
                  <c:v>24</c:v>
                </c:pt>
                <c:pt idx="8">
                  <c:v>21</c:v>
                </c:pt>
                <c:pt idx="9">
                  <c:v>20</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Amsterdam</c:v>
                </c:pt>
                <c:pt idx="1">
                  <c:v>Gooise Meren</c:v>
                </c:pt>
                <c:pt idx="2">
                  <c:v>Almere</c:v>
                </c:pt>
                <c:pt idx="3">
                  <c:v>Hilversum</c:v>
                </c:pt>
                <c:pt idx="4">
                  <c:v>Amstelveen</c:v>
                </c:pt>
                <c:pt idx="5">
                  <c:v>Diemen</c:v>
                </c:pt>
                <c:pt idx="6">
                  <c:v>Utrecht</c:v>
                </c:pt>
                <c:pt idx="7">
                  <c:v>De Ronde Venen</c:v>
                </c:pt>
                <c:pt idx="8">
                  <c:v>Huizen</c:v>
                </c:pt>
                <c:pt idx="9">
                  <c:v>Haarlem</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1</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8-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3A55FC5-DBDD-4759-BFE2-A48CFD68C95B}"/>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12287770"/>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625967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Weesp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Weesp</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1447278188"/>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3000204876"/>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Weesp vallen 25,0% van de huishoudens in de hoogste inkomensgroep (rijkste 20% van Nederland). Er zijn dus relatief veel rijken in Weesp.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Weesp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Weesp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esp</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9.197</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98</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182</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78%</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2096165423"/>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902416151"/>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Weesp</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0.19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65</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625133336"/>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2001187790"/>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7,9%</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1%</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9%</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271513095"/>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2445520117"/>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esp</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esp</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esp</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Weesp</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Weesp</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593</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05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19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88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047930726"/>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703434353"/>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4,9</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Heling(5), Afpersing en afdreiging(5) en Drugsmisdrijven(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67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26%</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576202416"/>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528892828"/>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eesp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eesp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eesp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eesp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Weesp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3210735411"/>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4286002459"/>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Weesp</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eesp</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5.028</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2%</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59254002"/>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Weesp</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eesp</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5.165</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2,7%</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4154336459"/>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3735804151"/>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75</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2,5%</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1,2%</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1962557815"/>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413450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19.738</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627</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45</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563832029"/>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9%</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Weesp</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8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8%</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5</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41</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02</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1909137355"/>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esp</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171956033"/>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706558679"/>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esp</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1670429362"/>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632236652"/>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3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2%</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Weesp</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46% van de verhuizers naar Weesp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102% van de verhuizers weg uit Weesp</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740217183"/>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150544105"/>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Weesp</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Weesp</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8.8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0.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91</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1194755165"/>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Weesp</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2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Verhuur en handel van onroerend goed</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46%</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407175763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227862595"/>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1171046570"/>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Weesp</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4.9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6%</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Nederlandse gemeenten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1838139818"/>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4249417870"/>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359059505"/>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3954351533"/>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3532945396"/>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7,1%</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9%</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5%</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Weesp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Weesp</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6</Words>
  <Application>Microsoft Office PowerPoint</Application>
  <PresentationFormat>Widescreen</PresentationFormat>
  <Paragraphs>425</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Weesp</vt:lpstr>
      <vt:lpstr>PowerPoint Presentation</vt:lpstr>
      <vt:lpstr>Historische bevolkingsontwikkeling Wees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8T09:21:55Z</dcterms:modified>
</cp:coreProperties>
</file>